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82" d="100"/>
          <a:sy n="82" d="100"/>
        </p:scale>
        <p:origin x="82"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11/29/2019</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11/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a:p>
              <a:r>
                <a:rPr lang="fr-FR" sz="1200" b="1" dirty="0"/>
                <a:t>NOSIZE</a:t>
              </a:r>
              <a:r>
                <a:rPr lang="fr-FR" sz="1200" dirty="0"/>
                <a:t> to </a:t>
              </a:r>
              <a:r>
                <a:rPr lang="fr-FR" sz="1200" dirty="0" err="1"/>
                <a:t>hide</a:t>
              </a:r>
              <a:r>
                <a:rPr lang="fr-FR" sz="1200" dirty="0"/>
                <a:t> the « LOC » </a:t>
              </a:r>
              <a:r>
                <a:rPr lang="fr-FR" sz="1200" dirty="0" err="1"/>
                <a:t>column</a:t>
              </a:r>
              <a:endParaRPr lang="fr-FR" sz="1200" dirty="0"/>
            </a:p>
            <a:p>
              <a:r>
                <a:rPr lang="fr-FR" sz="1200" dirty="0"/>
                <a:t>(by default the « LOC » </a:t>
              </a:r>
              <a:r>
                <a:rPr lang="fr-FR" sz="1200" dirty="0" err="1"/>
                <a:t>column</a:t>
              </a:r>
              <a:r>
                <a:rPr lang="fr-FR" sz="1200" dirty="0"/>
                <a:t> </a:t>
              </a:r>
              <a:r>
                <a:rPr lang="fr-FR" sz="1200" dirty="0" err="1"/>
                <a:t>is</a:t>
              </a:r>
              <a:r>
                <a:rPr lang="fr-FR" sz="1200" dirty="0"/>
                <a:t> </a:t>
              </a:r>
              <a:r>
                <a:rPr lang="fr-FR" sz="1200" dirty="0" err="1"/>
                <a:t>shown</a:t>
              </a:r>
              <a:r>
                <a:rPr lang="fr-FR" sz="1200" dirty="0"/>
                <a:t>)</a:t>
              </a:r>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424936" cy="2160240"/>
            <a:chOff x="1919536" y="3861048"/>
            <a:chExt cx="8424936"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9290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US" sz="1050" b="1" dirty="0"/>
                <a:t>METRICS</a:t>
              </a:r>
              <a:r>
                <a:rPr lang="en-GB" sz="1050" b="1" dirty="0"/>
                <a:t>= </a:t>
              </a:r>
              <a:r>
                <a:rPr lang="en-GB" sz="1050" dirty="0"/>
                <a:t>list of ids or standard tags, separated by | (can be Business or Technical Criterion, quality rules or quality standard tags)</a:t>
              </a:r>
              <a:endParaRPr lang="en-US" sz="1050" dirty="0"/>
            </a:p>
            <a:p>
              <a:r>
                <a:rPr lang="en-GB" sz="1050" dirty="0"/>
                <a:t>-   </a:t>
              </a:r>
              <a:r>
                <a:rPr lang="en-GB" sz="1050" b="1" dirty="0"/>
                <a:t>COMPLIANCE=true or false</a:t>
              </a:r>
              <a:r>
                <a:rPr lang="en-GB" sz="1050" dirty="0"/>
                <a:t> if you want to display the Compliance ratio column (default false)</a:t>
              </a:r>
              <a:endParaRPr lang="en-US" sz="1050" dirty="0"/>
            </a:p>
            <a:p>
              <a:pPr marL="171450" indent="-171450">
                <a:buFontTx/>
                <a:buChar char="-"/>
              </a:pPr>
              <a:r>
                <a:rPr lang="en-GB" sz="1050" b="1" dirty="0"/>
                <a:t>CRITICAL=true or false </a:t>
              </a:r>
              <a:r>
                <a:rPr lang="en-GB" sz="1050" dirty="0"/>
                <a:t>if you want to filter the metrics from the Business or Technical Criteria by critical metrics (default false)</a:t>
              </a:r>
              <a:endParaRPr lang="en-US" sz="1050" dirty="0"/>
            </a:p>
            <a:p>
              <a:pPr marL="171450" indent="-171450">
                <a:buFontTx/>
                <a:buChar char="-"/>
              </a:pPr>
              <a:r>
                <a:rPr lang="en-GB" sz="1050" b="1" dirty="0"/>
                <a:t>SORTED=TOTAL|COMPLIANCE</a:t>
              </a:r>
              <a:r>
                <a:rPr lang="en-GB" sz="1050" dirty="0"/>
                <a:t> to sort the results from max number of violations to min, or by compliance score by worse to better (if compliance score column is displayed), default is TOTAL</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050" dirty="0"/>
                <a:t>EVOLUTION=</a:t>
              </a:r>
              <a:r>
                <a:rPr lang="en-GB" sz="1050" dirty="0" err="1"/>
                <a:t>true|false</a:t>
              </a:r>
              <a:r>
                <a:rPr lang="en-GB" sz="1050" dirty="0"/>
                <a:t>. For display of added and removed columns. </a:t>
              </a:r>
              <a:r>
                <a:rPr lang="en-GB" sz="1050"/>
                <a:t>If not </a:t>
              </a:r>
              <a:r>
                <a:rPr lang="en-GB" sz="1050" dirty="0"/>
                <a:t>exists, the </a:t>
              </a:r>
              <a:r>
                <a:rPr lang="en-GB" sz="1050" dirty="0" err="1"/>
                <a:t>colums</a:t>
              </a:r>
              <a:r>
                <a:rPr lang="en-GB" sz="1050" dirty="0"/>
                <a:t> are displayed only if there is a previous snapshot</a:t>
              </a:r>
              <a:endParaRPr lang="en-US"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76760775"/>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33113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endParaRPr lang="en-US" sz="1100" dirty="0"/>
            </a:p>
            <a:p>
              <a:pPr marL="171450" indent="-171450">
                <a:buFontTx/>
                <a:buChar char="-"/>
              </a:pPr>
              <a:endParaRPr lang="en-US" sz="6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061356"/>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02723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4167007762"/>
              </p:ext>
            </p:extLst>
          </p:nvPr>
        </p:nvGraphicFramePr>
        <p:xfrm>
          <a:off x="2427521" y="3806108"/>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
        <p:nvSpPr>
          <p:cNvPr id="18" name="TextBox 17">
            <a:extLst>
              <a:ext uri="{FF2B5EF4-FFF2-40B4-BE49-F238E27FC236}">
                <a16:creationId xmlns:a16="http://schemas.microsoft.com/office/drawing/2014/main" id="{8BED741D-B0F1-4E1B-93FE-1885B2042EF0}"/>
              </a:ext>
            </a:extLst>
          </p:cNvPr>
          <p:cNvSpPr txBox="1"/>
          <p:nvPr/>
        </p:nvSpPr>
        <p:spPr>
          <a:xfrm>
            <a:off x="8330828" y="1326624"/>
            <a:ext cx="1526380" cy="338554"/>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1050" b="1" dirty="0"/>
                <a:t>LBL=</a:t>
              </a:r>
              <a:r>
                <a:rPr lang="en-GB" sz="600" b="1" dirty="0"/>
                <a:t> </a:t>
              </a:r>
              <a:r>
                <a:rPr lang="en-GB" sz="1050" dirty="0"/>
                <a:t>violations or vulnerabilities (vulnerabilities if not set), this change the headers from Vulnerabilities to Violation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735955880"/>
              </p:ext>
            </p:extLst>
          </p:nvPr>
        </p:nvGraphicFramePr>
        <p:xfrm>
          <a:off x="548025" y="3646636"/>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
        <p:nvSpPr>
          <p:cNvPr id="18" name="TextBox 17">
            <a:extLst>
              <a:ext uri="{FF2B5EF4-FFF2-40B4-BE49-F238E27FC236}">
                <a16:creationId xmlns:a16="http://schemas.microsoft.com/office/drawing/2014/main" id="{D52AF15E-5149-4E13-8FA7-98FD20803DA4}"/>
              </a:ext>
            </a:extLst>
          </p:cNvPr>
          <p:cNvSpPr txBox="1"/>
          <p:nvPr/>
        </p:nvSpPr>
        <p:spPr>
          <a:xfrm>
            <a:off x="8572702" y="1538212"/>
            <a:ext cx="1526380" cy="338554"/>
          </a:xfrm>
          <a:prstGeom prst="rect">
            <a:avLst/>
          </a:prstGeom>
        </p:spPr>
        <p:txBody>
          <a:bodyPr vert="horz" wrap="squar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44</TotalTime>
  <Words>8579</Words>
  <Application>Microsoft Office PowerPoint</Application>
  <PresentationFormat>Widescreen</PresentationFormat>
  <Paragraphs>2285</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09</cp:revision>
  <dcterms:created xsi:type="dcterms:W3CDTF">2016-10-16T15:51:34Z</dcterms:created>
  <dcterms:modified xsi:type="dcterms:W3CDTF">2019-11-29T11:40:27Z</dcterms:modified>
</cp:coreProperties>
</file>